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63"/>
  </p:normalViewPr>
  <p:slideViewPr>
    <p:cSldViewPr snapToGrid="0" snapToObjects="1" showGuides="1">
      <p:cViewPr varScale="1">
        <p:scale>
          <a:sx n="117" d="100"/>
          <a:sy n="117" d="100"/>
        </p:scale>
        <p:origin x="360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41389A-DD20-C042-9E1D-7710B427AD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7A17662-3C05-C54E-BE6D-DD5E070A26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74DE69-4CE1-2747-A576-D92B3EE18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5EB4B4-A537-784E-AAFC-5FE59C076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E00854-B68C-8543-B00D-BC2990E35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308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DE1CE6-4C86-D04E-AB3E-9227F5DA9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B3BCBCA-D8B4-1943-BF3A-AF75675721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1D596B-CD33-A04D-9981-1E8C245AA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75C2A5E-F7AA-A045-BA17-8643A42EA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AF3413-CA93-B24C-9EA3-5A1EC0D82A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54999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846BD82-8D80-1D46-A7CF-12291F7968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34E7026-44BE-8A40-BF7D-58B6CDF72A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6ACA5F1-DA2D-594F-BB51-CB63501A73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2ED8B5-6161-2942-AC19-3F0B0CF6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CA2750-478D-C842-BA89-642C655CF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754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5DE150-CC85-5F4D-9F66-D6DBB8162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BA3B47C-4CD5-A841-8EF0-AAF71A9EDF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5A4F50-5CE4-284D-88C2-45C727140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A3FD0AF-EAB3-994E-9A2E-33B850D68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53FC0BD-0320-6049-88C2-4EEB88687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5683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F98F82-E48B-DD4E-920C-EDCA457E0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EC7D26A-B8FC-DF43-A627-7D352FB5CB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4CF53E-4C1E-8C43-96D0-F4D068A32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DBB675C-5B54-FD43-9E96-05F7F9032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F07213-B0B2-E74F-A8BA-B826BDEF8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48436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641F9B-101F-2C46-9799-2925B2BCD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F45B71-2927-DB47-BA39-ECB4D8389F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D9940B-99BB-6845-9DCE-069E63305C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A37F8BA-8C5F-EB46-BBEA-35C0EE1D8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419F77A-3EBA-764C-9D9C-BA0BAB963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1DD86E-8C76-D645-95DC-73917D88F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32228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F32045-BE24-E84A-80D5-715211E2E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5F6831-C756-C24F-9B9C-11CD1A98C5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6D54AC3-B519-7A44-BCA8-2125A21B45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8FEEBC-7CF9-D64C-8986-92DE64F4E4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E0FF905-141B-D148-BEC3-1B0B6D66FC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8BA3D68-3EEB-334D-B4AD-3B06F75B85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4B74B88-AF1B-D34F-AF0C-2D5B3A1C83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9D6576B-D519-3A4F-8027-9551A4E94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77037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D2818C-75ED-A242-A20F-23ED64730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B2389DF-5D10-9844-937C-45E977E55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74E7CEF-CC6A-9140-8C97-9DEF79C67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6D62A8-6A22-8549-B0DE-783D3CF63E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71216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3EB973-79B8-0045-A828-6242D6673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CDBD70-381C-5C4C-9619-AFA84F9C63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1825D1-C62A-E04C-8F7F-920328076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97419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01C6B5-8BF5-904C-B0D7-EB57C7B42E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6346A2-A173-004F-858D-C25C2A74A1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8F5526-F516-AE45-B0A7-34B520B17F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DB8CDF9-C9B4-6D41-AE54-310899EE9C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7B0982D-EE44-6F4E-B5BE-8E6425134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215C712-6ED8-6D44-BFA3-9499C3FB0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26304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653410-4265-B342-84E9-72571C92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CC01B45-840B-8548-A347-CCEC37D3ED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FFD71C-B62C-444A-AD80-D543D874BA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B4E2EDB-B8E4-EE47-996B-5D92A9AC38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59FC238-7AFE-B74C-8189-1FF418FF91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2776CC-3B4F-0349-BEE0-CBD16EFA6D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996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A3EDECE-EF6A-BE4D-91A7-30B409419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0064734-0FA5-FA44-A0C3-9BC5C1E558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7A225EB-ACBD-CF41-9319-62A8702CDA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5AEEB6-4A98-7046-B634-26F039C1EE71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2C21851-4C7C-684E-A0EF-74E038CD50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AB1E1F-9B3F-4549-828F-6E111E33D1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8DC879-4076-EA4C-9BA6-D6A4AAA81D1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4804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2A89E15-BAD8-A848-A938-1673E47142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0528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8A382B65-55CB-A84E-ADD4-CFE9CCE3D0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3046" y="825953"/>
            <a:ext cx="4085383" cy="57721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E478686-CFE4-2148-8E34-4949E437E4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0646" y="673553"/>
            <a:ext cx="4085383" cy="57721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B1A82E3-47DF-3B42-AF42-FB120CD3DC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8246" y="521153"/>
            <a:ext cx="4085383" cy="57721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2C24DF5-945F-9C44-AFD4-7E4CB76B15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5846" y="368753"/>
            <a:ext cx="4085383" cy="577215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23300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Macintosh PowerPoint</Application>
  <PresentationFormat>Breitbild</PresentationFormat>
  <Paragraphs>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njamin Buchwitz</dc:creator>
  <cp:lastModifiedBy>Benjamin Buchwitz</cp:lastModifiedBy>
  <cp:revision>2</cp:revision>
  <dcterms:created xsi:type="dcterms:W3CDTF">2019-06-24T10:23:47Z</dcterms:created>
  <dcterms:modified xsi:type="dcterms:W3CDTF">2019-06-24T10:24:45Z</dcterms:modified>
</cp:coreProperties>
</file>